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648" r:id="rId2"/>
    <p:sldId id="653" r:id="rId3"/>
    <p:sldId id="654" r:id="rId4"/>
    <p:sldId id="655" r:id="rId5"/>
    <p:sldId id="656" r:id="rId6"/>
    <p:sldId id="657" r:id="rId7"/>
    <p:sldId id="659" r:id="rId8"/>
    <p:sldId id="658" r:id="rId9"/>
    <p:sldId id="675" r:id="rId10"/>
    <p:sldId id="660" r:id="rId11"/>
    <p:sldId id="661" r:id="rId12"/>
    <p:sldId id="662" r:id="rId13"/>
    <p:sldId id="663" r:id="rId14"/>
    <p:sldId id="664" r:id="rId15"/>
    <p:sldId id="665" r:id="rId16"/>
    <p:sldId id="666" r:id="rId17"/>
    <p:sldId id="667" r:id="rId18"/>
    <p:sldId id="668" r:id="rId19"/>
    <p:sldId id="669" r:id="rId20"/>
    <p:sldId id="670" r:id="rId21"/>
    <p:sldId id="671" r:id="rId22"/>
    <p:sldId id="672" r:id="rId23"/>
    <p:sldId id="673" r:id="rId24"/>
    <p:sldId id="674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5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6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2178C2A-B2ED-462D-B017-A5AB222B04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783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" name="think-cell Slide" r:id="rId4" imgW="353" imgH="359" progId="TCLayout.ActiveDocument.1">
                  <p:embed/>
                </p:oleObj>
              </mc:Choice>
              <mc:Fallback>
                <p:oleObj name="think-cell Slide" r:id="rId4" imgW="353" imgH="35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2178C2A-B2ED-462D-B017-A5AB222B04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89A3FE19-2744-46B1-BBF9-FA91FF1F77DA}"/>
              </a:ext>
            </a:extLst>
          </p:cNvPr>
          <p:cNvGrpSpPr/>
          <p:nvPr userDrawn="1"/>
        </p:nvGrpSpPr>
        <p:grpSpPr>
          <a:xfrm>
            <a:off x="0" y="-8389"/>
            <a:ext cx="12192000" cy="6858000"/>
            <a:chOff x="0" y="-8389"/>
            <a:chExt cx="12192000" cy="68580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852FAAC-F21C-49CA-BAC8-DBF3CE3931F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-8389"/>
              <a:ext cx="12192000" cy="6858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AB19739-C9BB-4102-98A7-A3650B1F95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48247" y="3352801"/>
              <a:ext cx="1316884" cy="343142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800" y="512763"/>
            <a:ext cx="5207000" cy="566737"/>
          </a:xfrm>
        </p:spPr>
        <p:txBody>
          <a:bodyPr vert="horz" anchor="t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F22748D-F1B4-4793-8FB9-CE33AF8749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435100"/>
            <a:ext cx="5207000" cy="1244600"/>
          </a:xfrm>
        </p:spPr>
        <p:txBody>
          <a:bodyPr>
            <a:noAutofit/>
          </a:bodyPr>
          <a:lstStyle>
            <a:lvl1pPr marL="0" indent="0">
              <a:buNone/>
              <a:defRPr sz="3600" b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4944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2805E6-0A2D-4D92-A9E1-F6C130B852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8994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" name="think-cell Slide" r:id="rId5" imgW="353" imgH="359" progId="TCLayout.ActiveDocument.1">
                  <p:embed/>
                </p:oleObj>
              </mc:Choice>
              <mc:Fallback>
                <p:oleObj name="think-cell Slide" r:id="rId5" imgW="353" imgH="35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2805E6-0A2D-4D92-A9E1-F6C130B85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9EFD85-4418-4D4A-BB0C-D235961837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67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568" y="365125"/>
            <a:ext cx="11484864" cy="682752"/>
          </a:xfrm>
        </p:spPr>
        <p:txBody>
          <a:bodyPr vert="horz">
            <a:noAutofit/>
          </a:bodyPr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A934B29-C237-4AE7-A018-9DC622B3DE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536" y="1383339"/>
            <a:ext cx="11484864" cy="21202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9832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509A0C3-B441-4E73-B762-0C1FD21A45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6314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" name="think-cell Slide" r:id="rId4" imgW="353" imgH="359" progId="TCLayout.ActiveDocument.1">
                  <p:embed/>
                </p:oleObj>
              </mc:Choice>
              <mc:Fallback>
                <p:oleObj name="think-cell Slide" r:id="rId4" imgW="353" imgH="35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509A0C3-B441-4E73-B762-0C1FD21A4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61AE3C-3C7F-478C-BB93-0A9FE8AC7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0E73C3-35EA-49F7-AB7E-CF57A5EE98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36D486-FB90-4F67-97A4-777F0EBC4275}"/>
              </a:ext>
            </a:extLst>
          </p:cNvPr>
          <p:cNvGrpSpPr/>
          <p:nvPr userDrawn="1"/>
        </p:nvGrpSpPr>
        <p:grpSpPr>
          <a:xfrm>
            <a:off x="0" y="-11185"/>
            <a:ext cx="12192000" cy="6858000"/>
            <a:chOff x="0" y="-8389"/>
            <a:chExt cx="12192000" cy="68580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A738D7C-833F-4C7C-9E06-E05BB764B3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-8389"/>
              <a:ext cx="12192000" cy="68580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2227D39-0E7A-4FEC-9755-444C857CE6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17834" y="3429001"/>
              <a:ext cx="1635767" cy="31967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492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2805E6-0A2D-4D92-A9E1-F6C130B852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054153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" name="think-cell Slide" r:id="rId5" imgW="353" imgH="359" progId="TCLayout.ActiveDocument.1">
                  <p:embed/>
                </p:oleObj>
              </mc:Choice>
              <mc:Fallback>
                <p:oleObj name="think-cell Slide" r:id="rId5" imgW="353" imgH="35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2805E6-0A2D-4D92-A9E1-F6C130B85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9EFD85-4418-4D4A-BB0C-D235961837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33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75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1533" y="365125"/>
            <a:ext cx="11468527" cy="6826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1533" y="1825625"/>
            <a:ext cx="1146852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611312-E18F-4F43-9147-BF06BD6EAD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1439607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think-cell Slide" r:id="rId9" imgW="353" imgH="359" progId="TCLayout.ActiveDocument.1">
                  <p:embed/>
                </p:oleObj>
              </mc:Choice>
              <mc:Fallback>
                <p:oleObj name="think-cell Slide" r:id="rId9" imgW="353" imgH="35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611312-E18F-4F43-9147-BF06BD6EA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722FBF1-1A34-4C00-9586-9500F0A4705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67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DCE036B5-892C-42BF-8BEC-342BE5769170}"/>
              </a:ext>
            </a:extLst>
          </p:cNvPr>
          <p:cNvSpPr/>
          <p:nvPr userDrawn="1"/>
        </p:nvSpPr>
        <p:spPr>
          <a:xfrm>
            <a:off x="11362861" y="6474563"/>
            <a:ext cx="457200" cy="281837"/>
          </a:xfrm>
          <a:prstGeom prst="round2SameRect">
            <a:avLst>
              <a:gd name="adj1" fmla="val 23426"/>
              <a:gd name="adj2" fmla="val 0"/>
            </a:avLst>
          </a:prstGeom>
          <a:solidFill>
            <a:srgbClr val="E227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3AF54C-4023-416F-9B2C-4A177C1A9E6C}"/>
              </a:ext>
            </a:extLst>
          </p:cNvPr>
          <p:cNvSpPr txBox="1"/>
          <p:nvPr userDrawn="1"/>
        </p:nvSpPr>
        <p:spPr>
          <a:xfrm>
            <a:off x="11346523" y="6474647"/>
            <a:ext cx="48987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DF408F7A-B94C-44C3-AED2-D20BB3D05E6C}" type="slidenum">
              <a:rPr lang="en-US" sz="1200" smtClean="0">
                <a:solidFill>
                  <a:schemeClr val="bg1"/>
                </a:solidFill>
                <a:latin typeface="+mn-lt"/>
              </a:rPr>
              <a:pPr algn="ctr"/>
              <a:t>‹#›</a:t>
            </a:fld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DEF16C0-B064-4A5B-8723-97AC88FA87AD}"/>
              </a:ext>
            </a:extLst>
          </p:cNvPr>
          <p:cNvSpPr/>
          <p:nvPr userDrawn="1"/>
        </p:nvSpPr>
        <p:spPr>
          <a:xfrm>
            <a:off x="1" y="6756400"/>
            <a:ext cx="12191999" cy="101600"/>
          </a:xfrm>
          <a:prstGeom prst="rect">
            <a:avLst/>
          </a:prstGeom>
          <a:solidFill>
            <a:srgbClr val="E227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3200"/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908AB7E0-D1C7-48EF-9E67-0E831FD74B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36" y="6195729"/>
            <a:ext cx="949664" cy="509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1511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19FB6B-93CA-49EA-873E-1F45F12822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5" name="think-cell Slide" r:id="rId4" imgW="353" imgH="359" progId="TCLayout.ActiveDocument.1">
                  <p:embed/>
                </p:oleObj>
              </mc:Choice>
              <mc:Fallback>
                <p:oleObj name="think-cell Slide" r:id="rId4" imgW="353" imgH="35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19FB6B-93CA-49EA-873E-1F45F12822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7E26FD-A76C-4490-8EF6-050C4165C2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1100" y="481767"/>
            <a:ext cx="5197854" cy="1816816"/>
          </a:xfrm>
        </p:spPr>
        <p:txBody>
          <a:bodyPr vert="horz">
            <a:noAutofit/>
          </a:bodyPr>
          <a:lstStyle/>
          <a:p>
            <a:pPr algn="ctr"/>
            <a:r>
              <a:rPr lang="en-US" sz="2000" dirty="0"/>
              <a:t>Designing Albuquerque: An Open House for Architects, Landscape Architects &amp; Engineers</a:t>
            </a:r>
            <a:br>
              <a:rPr lang="en-US" sz="2000" dirty="0"/>
            </a:br>
            <a:r>
              <a:rPr lang="en-US" sz="2000" dirty="0"/>
              <a:t>Projects</a:t>
            </a:r>
            <a:br>
              <a:rPr lang="en-US" sz="2000" dirty="0"/>
            </a:br>
            <a:r>
              <a:rPr lang="en-US" sz="2000" dirty="0"/>
              <a:t>June 15, 2022</a:t>
            </a:r>
            <a:endParaRPr lang="en-US" sz="2000" b="1" dirty="0"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178D940-0257-4D71-98A8-E0A6A5B2C2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9728" y="5357991"/>
            <a:ext cx="1329979" cy="1329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57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60395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Juan </a:t>
            </a:r>
            <a:r>
              <a:rPr lang="en-US" dirty="0" err="1"/>
              <a:t>Tabo</a:t>
            </a:r>
            <a:r>
              <a:rPr lang="en-US" dirty="0"/>
              <a:t> Hills Park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6DDF4AD8-D0CE-40D0-8798-DEFF0C3C05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4885" y="1109663"/>
            <a:ext cx="8402229" cy="550777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0888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60395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North Domingo Baca Park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70E1D494-C66A-459A-99E3-65D267F670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7713" y="1147319"/>
            <a:ext cx="9597281" cy="5044434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70420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60395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Petroglyph Little League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3DD975CB-BB9A-4801-AD40-C3CB2DFD60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4970" y="1124639"/>
            <a:ext cx="8162059" cy="5304736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3271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60395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Regional Baseball Complex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954A8E7D-5580-4400-BB83-87913028E5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402" y="987071"/>
            <a:ext cx="4267195" cy="579356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78682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60395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Vista Del Norte Community Park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8DA35597-A2B5-4ABD-B921-E02EF3FF23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7428" y="1103164"/>
            <a:ext cx="8337143" cy="551428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71622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60395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Indian School &amp; Tramway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C701C18F-9555-4F15-A1A6-15CFC55DEF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3288" y="990877"/>
            <a:ext cx="8486131" cy="5668628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988687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28237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Wilson Pool Park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8683B26E-E74A-422E-8FB0-8027A8F6FA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1740" y="1028841"/>
            <a:ext cx="7148519" cy="5582344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75577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28237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CABQ Major Open Space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C8B9A912-B4E2-46F8-B911-14CA013313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6676" y="1092439"/>
            <a:ext cx="7178647" cy="5471445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12790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28237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Los Altos Park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075BA6EE-A4DF-4FED-B8C7-F367F4B662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7557" y="1103875"/>
            <a:ext cx="7636885" cy="5481614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9008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28237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Lowell Greenway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A1D49AC-2361-43E1-9AE5-1415A593ED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1022" y="1047525"/>
            <a:ext cx="8749956" cy="556992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0356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5512" y="236744"/>
            <a:ext cx="4481669" cy="5799806"/>
          </a:xfrm>
          <a:prstGeom prst="rect">
            <a:avLst/>
          </a:prstGeom>
        </p:spPr>
      </p:pic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760" y="236744"/>
            <a:ext cx="6905500" cy="5659808"/>
          </a:xfrm>
        </p:spPr>
      </p:pic>
    </p:spTree>
    <p:extLst>
      <p:ext uri="{BB962C8B-B14F-4D97-AF65-F5344CB8AC3E}">
        <p14:creationId xmlns:p14="http://schemas.microsoft.com/office/powerpoint/2010/main" val="3631606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28237"/>
            <a:ext cx="11484864" cy="682752"/>
          </a:xfrm>
        </p:spPr>
        <p:txBody>
          <a:bodyPr/>
          <a:lstStyle/>
          <a:p>
            <a:pPr algn="ctr"/>
            <a:r>
              <a:rPr lang="en-US" dirty="0" err="1"/>
              <a:t>Geneiva’s</a:t>
            </a:r>
            <a:r>
              <a:rPr lang="en-US" dirty="0"/>
              <a:t> Arroyo Greenway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C9F87692-32FE-4CF9-878F-6C22F196892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610"/>
          <a:stretch/>
        </p:blipFill>
        <p:spPr>
          <a:xfrm>
            <a:off x="1570146" y="1052415"/>
            <a:ext cx="9631253" cy="567199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0086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28237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North Domingo Baca Aquatics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16FD2F59-6D31-4A0F-AC0A-8284108D39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3877" y="985477"/>
            <a:ext cx="3724245" cy="5744286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9298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28237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North Domingo Baca Splash Pad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31A84639-8996-4F8C-8887-A59CE42AB0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8957" y="957618"/>
            <a:ext cx="8654793" cy="574357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6784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28237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Phil Chacon Park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1C791AEE-7DD6-42D9-B5E9-D7546F9AB7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3283" y="1042917"/>
            <a:ext cx="8645434" cy="5645339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65814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28237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Wells Park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2FDDBDB1-B8A8-4F85-B7BC-93FF94544A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6245" y="1075405"/>
            <a:ext cx="9259510" cy="554204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6211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305" y="2691823"/>
            <a:ext cx="5603175" cy="3151786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8523" y="184127"/>
            <a:ext cx="5438898" cy="3630465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718086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801" y="1101394"/>
            <a:ext cx="6185510" cy="4782829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9574" y="365124"/>
            <a:ext cx="4558858" cy="5991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48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8701" y="3393831"/>
            <a:ext cx="3376404" cy="253230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568" y="159787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Marble/Arno Pump Sta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6" r="12361"/>
          <a:stretch/>
        </p:blipFill>
        <p:spPr>
          <a:xfrm rot="5400000">
            <a:off x="9462721" y="3308223"/>
            <a:ext cx="2573216" cy="2662605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456971" y="1792292"/>
            <a:ext cx="4742105" cy="352558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77" t="23082" r="4128" b="32270"/>
          <a:stretch/>
        </p:blipFill>
        <p:spPr>
          <a:xfrm>
            <a:off x="6590815" y="1184031"/>
            <a:ext cx="5489817" cy="220980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474785" y="1770418"/>
            <a:ext cx="4689230" cy="3516923"/>
          </a:xfrm>
          <a:ln w="19050">
            <a:solidFill>
              <a:schemeClr val="tx1"/>
            </a:solidFill>
          </a:ln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BC891E-770E-407A-9A43-99A07A82621F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untitled">
            <a:extLst>
              <a:ext uri="{FF2B5EF4-FFF2-40B4-BE49-F238E27FC236}">
                <a16:creationId xmlns:a16="http://schemas.microsoft.com/office/drawing/2014/main" id="{FAD64C4A-D7AC-4D17-9F2D-325841D6A4DC}"/>
              </a:ext>
            </a:extLst>
          </p:cNvPr>
          <p:cNvPicPr/>
          <p:nvPr/>
        </p:nvPicPr>
        <p:blipFill>
          <a:blip r:embed="rId7">
            <a:clrChange>
              <a:clrFrom>
                <a:srgbClr val="FDFEFF"/>
              </a:clrFrom>
              <a:clrTo>
                <a:srgbClr val="FD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04"/>
            <a:ext cx="1751283" cy="602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0615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283" y="62146"/>
            <a:ext cx="10228707" cy="682752"/>
          </a:xfrm>
        </p:spPr>
        <p:txBody>
          <a:bodyPr/>
          <a:lstStyle/>
          <a:p>
            <a:pPr algn="ctr"/>
            <a:r>
              <a:rPr lang="en-US" dirty="0"/>
              <a:t>East Central Landscaping Improvement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1808" y="1022315"/>
            <a:ext cx="3888384" cy="5555668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2DD1013-AA96-4ACC-BB6C-DFD4A6024A04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untitled">
            <a:extLst>
              <a:ext uri="{FF2B5EF4-FFF2-40B4-BE49-F238E27FC236}">
                <a16:creationId xmlns:a16="http://schemas.microsoft.com/office/drawing/2014/main" id="{61AB2526-8DE2-41A7-811B-DC25BE28902E}"/>
              </a:ext>
            </a:extLst>
          </p:cNvPr>
          <p:cNvPicPr/>
          <p:nvPr/>
        </p:nvPicPr>
        <p:blipFill>
          <a:blip r:embed="rId3">
            <a:clrChange>
              <a:clrFrom>
                <a:srgbClr val="FDFEFF"/>
              </a:clrFrom>
              <a:clrTo>
                <a:srgbClr val="FD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04"/>
            <a:ext cx="1751283" cy="602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716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311297"/>
            <a:ext cx="9495852" cy="682752"/>
          </a:xfrm>
        </p:spPr>
        <p:txBody>
          <a:bodyPr/>
          <a:lstStyle/>
          <a:p>
            <a:pPr algn="ctr"/>
            <a:r>
              <a:rPr lang="en-US" dirty="0"/>
              <a:t>North Diversion Channel Undercrossing at Indian School</a:t>
            </a:r>
          </a:p>
        </p:txBody>
      </p:sp>
      <p:pic>
        <p:nvPicPr>
          <p:cNvPr id="4" name="Picture 3" descr="X:\MD\SHARE\MD-Transportation\1Michalski\Indian School Bike Notch\Photos\IMG_1570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471" y="1230364"/>
            <a:ext cx="4143058" cy="539485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9250297-E5DB-4D90-911D-21863E04B399}"/>
              </a:ext>
            </a:extLst>
          </p:cNvPr>
          <p:cNvCxnSpPr/>
          <p:nvPr/>
        </p:nvCxnSpPr>
        <p:spPr>
          <a:xfrm>
            <a:off x="0" y="11122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untitled">
            <a:extLst>
              <a:ext uri="{FF2B5EF4-FFF2-40B4-BE49-F238E27FC236}">
                <a16:creationId xmlns:a16="http://schemas.microsoft.com/office/drawing/2014/main" id="{705AD16F-3AC8-4CB6-B4F2-1F4E9F6EB6FE}"/>
              </a:ext>
            </a:extLst>
          </p:cNvPr>
          <p:cNvPicPr/>
          <p:nvPr/>
        </p:nvPicPr>
        <p:blipFill>
          <a:blip r:embed="rId3">
            <a:clrChange>
              <a:clrFrom>
                <a:srgbClr val="FDFEFF"/>
              </a:clrFrom>
              <a:clrTo>
                <a:srgbClr val="FD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404"/>
            <a:ext cx="1751283" cy="602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12876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60395"/>
            <a:ext cx="11484864" cy="682752"/>
          </a:xfrm>
        </p:spPr>
        <p:txBody>
          <a:bodyPr/>
          <a:lstStyle/>
          <a:p>
            <a:pPr algn="ctr"/>
            <a:r>
              <a:rPr lang="en-US" dirty="0"/>
              <a:t>12</a:t>
            </a:r>
            <a:r>
              <a:rPr lang="en-US" baseline="30000" dirty="0"/>
              <a:t>th</a:t>
            </a:r>
            <a:r>
              <a:rPr lang="en-US" dirty="0"/>
              <a:t> and Menaul Roundabou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2748" y="1069567"/>
            <a:ext cx="7186503" cy="5388034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1056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22" y="128237"/>
            <a:ext cx="11484864" cy="682752"/>
          </a:xfrm>
        </p:spPr>
        <p:txBody>
          <a:bodyPr/>
          <a:lstStyle/>
          <a:p>
            <a:pPr algn="ctr"/>
            <a:r>
              <a:rPr lang="en-US" dirty="0" err="1"/>
              <a:t>BioPark</a:t>
            </a:r>
            <a:r>
              <a:rPr lang="en-US" dirty="0"/>
              <a:t> Polar Bear Tunnel Demo</a:t>
            </a:r>
          </a:p>
        </p:txBody>
      </p:sp>
      <p:pic>
        <p:nvPicPr>
          <p:cNvPr id="5" name="Picture 4" descr="untitled">
            <a:extLst>
              <a:ext uri="{FF2B5EF4-FFF2-40B4-BE49-F238E27FC236}">
                <a16:creationId xmlns:a16="http://schemas.microsoft.com/office/drawing/2014/main" id="{39E2F8A3-3F50-4B6A-A26A-889F506FED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214" y="240555"/>
            <a:ext cx="1751283" cy="6025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67FA06-46C4-4BCA-881F-E7456BF67DD7}"/>
              </a:ext>
            </a:extLst>
          </p:cNvPr>
          <p:cNvCxnSpPr/>
          <p:nvPr/>
        </p:nvCxnSpPr>
        <p:spPr>
          <a:xfrm>
            <a:off x="0" y="883606"/>
            <a:ext cx="12192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11EF4DA2-549F-488D-BF08-F90DBB3388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1830" y="1031078"/>
            <a:ext cx="7468339" cy="5601255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102177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a1c8wX89NfzFoQEhz7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FA6_wEMPKQU3lNMYPR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FA6_wEMPKQU3lNMYPR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7</TotalTime>
  <Words>97</Words>
  <Application>Microsoft Office PowerPoint</Application>
  <PresentationFormat>Widescreen</PresentationFormat>
  <Paragraphs>21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8" baseType="lpstr">
      <vt:lpstr>Arial</vt:lpstr>
      <vt:lpstr>Verdana</vt:lpstr>
      <vt:lpstr>1_Office Theme</vt:lpstr>
      <vt:lpstr>think-cell Slide</vt:lpstr>
      <vt:lpstr>Designing Albuquerque: An Open House for Architects, Landscape Architects &amp; Engineers Projects June 15, 2022</vt:lpstr>
      <vt:lpstr>PowerPoint Presentation</vt:lpstr>
      <vt:lpstr>PowerPoint Presentation</vt:lpstr>
      <vt:lpstr>PowerPoint Presentation</vt:lpstr>
      <vt:lpstr>Marble/Arno Pump Station</vt:lpstr>
      <vt:lpstr>East Central Landscaping Improvements</vt:lpstr>
      <vt:lpstr>North Diversion Channel Undercrossing at Indian School</vt:lpstr>
      <vt:lpstr>12th and Menaul Roundabout</vt:lpstr>
      <vt:lpstr>BioPark Polar Bear Tunnel Demo</vt:lpstr>
      <vt:lpstr>Juan Tabo Hills Park</vt:lpstr>
      <vt:lpstr>North Domingo Baca Park</vt:lpstr>
      <vt:lpstr>Petroglyph Little League</vt:lpstr>
      <vt:lpstr>Regional Baseball Complex</vt:lpstr>
      <vt:lpstr>Vista Del Norte Community Park</vt:lpstr>
      <vt:lpstr>Indian School &amp; Tramway</vt:lpstr>
      <vt:lpstr>Wilson Pool Park</vt:lpstr>
      <vt:lpstr>CABQ Major Open Space</vt:lpstr>
      <vt:lpstr>Los Altos Park</vt:lpstr>
      <vt:lpstr>Lowell Greenway</vt:lpstr>
      <vt:lpstr>Geneiva’s Arroyo Greenway</vt:lpstr>
      <vt:lpstr>North Domingo Baca Aquatics</vt:lpstr>
      <vt:lpstr>North Domingo Baca Splash Pad</vt:lpstr>
      <vt:lpstr>Phil Chacon Park</vt:lpstr>
      <vt:lpstr>Wells Par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ility Data by Department – Import to Energy Manager</dc:title>
  <dc:creator>Paige Mankey</dc:creator>
  <cp:lastModifiedBy>Turner, Jennifer L.</cp:lastModifiedBy>
  <cp:revision>90</cp:revision>
  <dcterms:created xsi:type="dcterms:W3CDTF">2021-10-26T22:09:17Z</dcterms:created>
  <dcterms:modified xsi:type="dcterms:W3CDTF">2022-06-15T16:16:28Z</dcterms:modified>
</cp:coreProperties>
</file>